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51" r:id="rId2"/>
    <p:sldMasterId id="2147483656" r:id="rId3"/>
    <p:sldMasterId id="2147483673" r:id="rId4"/>
    <p:sldMasterId id="2147483689" r:id="rId5"/>
    <p:sldMasterId id="2147483706" r:id="rId6"/>
    <p:sldMasterId id="2147483711" r:id="rId7"/>
  </p:sldMasterIdLst>
  <p:notesMasterIdLst>
    <p:notesMasterId r:id="rId47"/>
  </p:notesMasterIdLst>
  <p:handoutMasterIdLst>
    <p:handoutMasterId r:id="rId48"/>
  </p:handoutMasterIdLst>
  <p:sldIdLst>
    <p:sldId id="594" r:id="rId8"/>
    <p:sldId id="654" r:id="rId9"/>
    <p:sldId id="510" r:id="rId10"/>
    <p:sldId id="511" r:id="rId11"/>
    <p:sldId id="550" r:id="rId12"/>
    <p:sldId id="517" r:id="rId13"/>
    <p:sldId id="429" r:id="rId14"/>
    <p:sldId id="595" r:id="rId15"/>
    <p:sldId id="599" r:id="rId16"/>
    <p:sldId id="600" r:id="rId17"/>
    <p:sldId id="601" r:id="rId18"/>
    <p:sldId id="602" r:id="rId19"/>
    <p:sldId id="603" r:id="rId20"/>
    <p:sldId id="605" r:id="rId21"/>
    <p:sldId id="606" r:id="rId22"/>
    <p:sldId id="607" r:id="rId23"/>
    <p:sldId id="609" r:id="rId24"/>
    <p:sldId id="610" r:id="rId25"/>
    <p:sldId id="611" r:id="rId26"/>
    <p:sldId id="612" r:id="rId27"/>
    <p:sldId id="613" r:id="rId28"/>
    <p:sldId id="614" r:id="rId29"/>
    <p:sldId id="615" r:id="rId30"/>
    <p:sldId id="616" r:id="rId31"/>
    <p:sldId id="617" r:id="rId32"/>
    <p:sldId id="618" r:id="rId33"/>
    <p:sldId id="619" r:id="rId34"/>
    <p:sldId id="620" r:id="rId35"/>
    <p:sldId id="621" r:id="rId36"/>
    <p:sldId id="623" r:id="rId37"/>
    <p:sldId id="624" r:id="rId38"/>
    <p:sldId id="625" r:id="rId39"/>
    <p:sldId id="641" r:id="rId40"/>
    <p:sldId id="653" r:id="rId41"/>
    <p:sldId id="626" r:id="rId42"/>
    <p:sldId id="627" r:id="rId43"/>
    <p:sldId id="628" r:id="rId44"/>
    <p:sldId id="629" r:id="rId45"/>
    <p:sldId id="638" r:id="rId46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50F83A3-9B02-4DD4-8075-AB5F223238D8}">
          <p14:sldIdLst>
            <p14:sldId id="594"/>
            <p14:sldId id="654"/>
            <p14:sldId id="510"/>
            <p14:sldId id="511"/>
            <p14:sldId id="550"/>
            <p14:sldId id="517"/>
            <p14:sldId id="429"/>
            <p14:sldId id="595"/>
            <p14:sldId id="599"/>
            <p14:sldId id="600"/>
            <p14:sldId id="601"/>
            <p14:sldId id="602"/>
            <p14:sldId id="603"/>
            <p14:sldId id="605"/>
            <p14:sldId id="606"/>
            <p14:sldId id="607"/>
            <p14:sldId id="609"/>
            <p14:sldId id="610"/>
            <p14:sldId id="611"/>
            <p14:sldId id="612"/>
            <p14:sldId id="613"/>
            <p14:sldId id="614"/>
            <p14:sldId id="615"/>
            <p14:sldId id="616"/>
            <p14:sldId id="617"/>
            <p14:sldId id="618"/>
            <p14:sldId id="619"/>
            <p14:sldId id="620"/>
            <p14:sldId id="621"/>
            <p14:sldId id="623"/>
            <p14:sldId id="624"/>
            <p14:sldId id="625"/>
            <p14:sldId id="641"/>
            <p14:sldId id="653"/>
            <p14:sldId id="626"/>
            <p14:sldId id="627"/>
            <p14:sldId id="628"/>
            <p14:sldId id="629"/>
            <p14:sldId id="638"/>
          </p14:sldIdLst>
        </p14:section>
        <p14:section name="Untitled Section" id="{C3F1AC33-BE39-4FE4-B877-39534146D0E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9D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32" autoAdjust="0"/>
    <p:restoredTop sz="74246" autoAdjust="0"/>
  </p:normalViewPr>
  <p:slideViewPr>
    <p:cSldViewPr>
      <p:cViewPr varScale="1">
        <p:scale>
          <a:sx n="54" d="100"/>
          <a:sy n="54" d="100"/>
        </p:scale>
        <p:origin x="190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53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1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5B3E96-510A-4CE8-A11B-31CBD2FA4C0D}" type="datetimeFigureOut">
              <a:rPr lang="en-US" smtClean="0"/>
              <a:pPr/>
              <a:t>5/6/2021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7A12ED-F32A-47F0-AB5B-DA049A49CEC4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B90656-425C-4BD6-8B59-937B71857D80}" type="datetimeFigureOut">
              <a:rPr lang="en-US" smtClean="0"/>
              <a:pPr/>
              <a:t>5/6/202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EA3F3-7F60-4372-AD96-0BFBCD79137E}" type="slidenum">
              <a:rPr lang="en-ZA" smtClean="0"/>
              <a:pPr/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6BAB15-4B2E-417D-B449-5DDBE8D66A53}" type="slidenum">
              <a:rPr lang="en-ZA" altLang="en-US"/>
              <a:pPr>
                <a:spcBef>
                  <a:spcPct val="0"/>
                </a:spcBef>
              </a:pPr>
              <a:t>1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654205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Tx/>
              <a:buChar char="-"/>
            </a:pPr>
            <a:r>
              <a:rPr lang="en-ZA" baseline="0" dirty="0"/>
              <a:t>Context is important. </a:t>
            </a:r>
          </a:p>
          <a:p>
            <a:pPr marL="171450" lvl="0" indent="-171450">
              <a:buFontTx/>
              <a:buChar char="-"/>
            </a:pPr>
            <a:r>
              <a:rPr lang="en-ZA" baseline="0" dirty="0"/>
              <a:t>This diagnostics provide national (macro-level) challenge. The national health system is faced with challenges but not all Districts are challenged in a same way. </a:t>
            </a:r>
          </a:p>
          <a:p>
            <a:pPr marL="628650" lvl="1" indent="-171450">
              <a:buFontTx/>
              <a:buChar char="-"/>
            </a:pPr>
            <a:endParaRPr lang="en-ZA" baseline="0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B211EFF-7772-485E-8891-57C63F876B71}" type="datetime1">
              <a:rPr lang="en-US" smtClean="0"/>
              <a:t>5/6/20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756147A-2F7A-4EC5-9585-1D30E2181C7E}" type="slidenum">
              <a:rPr lang="en-ZA" smtClean="0"/>
              <a:pPr>
                <a:defRPr/>
              </a:pPr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60234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B057DA0D-B1AA-474B-A2F6-72248F0B5572}" type="slidenum">
              <a:rPr lang="en-ZA" smtClean="0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31</a:t>
            </a:fld>
            <a:endParaRPr lang="en-ZA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7503E255-4AEF-4C54-9967-59FBF84C76AC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5/6/2021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126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CD5EC3D4-EC9E-4CF9-A419-672A1E2A981E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5/6/2021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07DE05D-768B-462D-95F1-2DD749FD4682}" type="slidenum">
              <a:rPr lang="en-ZA" smtClean="0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32</a:t>
            </a:fld>
            <a:endParaRPr lang="en-ZA" dirty="0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43431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ZA" altLang="en-US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65A58B-4D59-415C-8169-D356F5CF407A}" type="slidenum">
              <a:rPr lang="en-ZA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35</a:t>
            </a:fld>
            <a:endParaRPr lang="en-ZA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269" name="Date Placeholder 4"/>
          <p:cNvSpPr>
            <a:spLocks noGrp="1"/>
          </p:cNvSpPr>
          <p:nvPr>
            <p:ph type="dt" sz="quarter" idx="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13CB410-A345-40DE-B554-FE437A937FD4}" type="datetime1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/6/2021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11270" name="Footer Placeholder 5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6962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ZA" altLang="en-US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9589025-5D25-442A-AC81-7F534D7477B8}" type="slidenum">
              <a:rPr lang="en-ZA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37</a:t>
            </a:fld>
            <a:endParaRPr lang="en-ZA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269" name="Date Placeholder 4"/>
          <p:cNvSpPr>
            <a:spLocks noGrp="1"/>
          </p:cNvSpPr>
          <p:nvPr>
            <p:ph type="dt" sz="quarter" idx="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13CB410-A345-40DE-B554-FE437A937FD4}" type="datetime1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/6/2021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11270" name="Footer Placeholder 5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431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Phila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786578" y="5929354"/>
            <a:ext cx="1071570" cy="910387"/>
          </a:xfrm>
          <a:prstGeom prst="rect">
            <a:avLst/>
          </a:prstGeom>
        </p:spPr>
      </p:pic>
      <p:pic>
        <p:nvPicPr>
          <p:cNvPr id="13" name="Picture 12" descr="Logo - NDP - Full colour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001024" y="5870484"/>
            <a:ext cx="1058978" cy="10589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6/20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44650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587684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3956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025061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213635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1173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1933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194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0690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017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39342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Logo - NDP - Full colou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3069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79520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Logo - NDP - Full colou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04686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6/2021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989627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68819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475194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56494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3576929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789541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6/20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994852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789049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668372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705409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979563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926980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205786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2490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08749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6/2021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670270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42604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6/2021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783011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1558607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382782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118197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342420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/6/20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937015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588443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4623245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939805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5832062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2495760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763583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782476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3872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15435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95C33E-24F2-452D-AE9F-D6633E523EED}" type="slidenum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50825" y="1268416"/>
            <a:ext cx="8602663" cy="396875"/>
          </a:xfrm>
        </p:spPr>
        <p:txBody>
          <a:bodyPr>
            <a:normAutofit/>
          </a:bodyPr>
          <a:lstStyle>
            <a:lvl1pPr marL="0" indent="0">
              <a:buNone/>
              <a:defRPr sz="1505" b="0">
                <a:solidFill>
                  <a:schemeClr val="tx2"/>
                </a:solidFill>
              </a:defRPr>
            </a:lvl1pPr>
            <a:lvl2pPr marL="430042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47605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514600" y="2852738"/>
            <a:ext cx="64008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533851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0"/>
            <a:ext cx="8555868" cy="1052736"/>
          </a:xfrm>
          <a:prstGeom prst="rect">
            <a:avLst/>
          </a:prstGeom>
        </p:spPr>
        <p:txBody>
          <a:bodyPr anchor="ctr"/>
          <a:lstStyle>
            <a:lvl1pPr algn="l">
              <a:defRPr sz="18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2" y="1277840"/>
            <a:ext cx="8634487" cy="4672110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57213" indent="-214313">
              <a:buFont typeface="Courier New" panose="02070309020205020404" pitchFamily="49" charset="0"/>
              <a:buChar char="o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1" y="6026664"/>
            <a:ext cx="6211155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43118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685800"/>
            <a:fld id="{8406839F-D7A4-4E5D-B93D-768AD4D1DB36}" type="slidenum">
              <a:rPr lang="en-ZA" smtClean="0">
                <a:solidFill>
                  <a:srgbClr val="005D28"/>
                </a:solidFill>
              </a:rPr>
              <a:pPr defTabSz="685800"/>
              <a:t>‹#›</a:t>
            </a:fld>
            <a:endParaRPr lang="en-ZA">
              <a:solidFill>
                <a:srgbClr val="005D28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GB">
              <a:solidFill>
                <a:srgbClr val="9BBB5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595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619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148694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834464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91296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77594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4.jpeg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image" Target="../media/image6.jpeg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5.jpe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7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image" Target="../media/image7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4.x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40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image" Target="../media/image5.jpe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4.png"/><Relationship Id="rId4" Type="http://schemas.openxmlformats.org/officeDocument/2006/relationships/theme" Target="../theme/theme6.xml"/><Relationship Id="rId9" Type="http://schemas.openxmlformats.org/officeDocument/2006/relationships/image" Target="../media/image4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9DE21-5DAA-4204-B423-28510684095B}" type="slidenum">
              <a:rPr lang="en-ZA" smtClean="0"/>
              <a:pPr/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25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22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2372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715" r:id="rId16"/>
    <p:sldLayoutId id="2147483716" r:id="rId17"/>
    <p:sldLayoutId id="2147483717" r:id="rId18"/>
    <p:sldLayoutId id="2147483718" r:id="rId19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18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654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19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7175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59533" y="6080006"/>
            <a:ext cx="1296144" cy="633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10"/>
          <a:srcRect t="6042" b="4962"/>
          <a:stretch/>
        </p:blipFill>
        <p:spPr>
          <a:xfrm>
            <a:off x="8028384" y="6080006"/>
            <a:ext cx="808319" cy="678963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pPr defTabSz="685800"/>
            <a:fld id="{2017EE79-33E5-4C4B-BAE3-E8DBEA3383C6}" type="slidenum">
              <a:rPr lang="en-ZA" smtClean="0">
                <a:solidFill>
                  <a:prstClr val="black"/>
                </a:solidFill>
              </a:rPr>
              <a:pPr defTabSz="685800"/>
              <a:t>‹#›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323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10" r:id="rId3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57965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.bin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767172" y="764704"/>
            <a:ext cx="7380312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3200" b="1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/>
            </a:pPr>
            <a:r>
              <a:rPr lang="en-GB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iefing to the Portfolio Committee On Health </a:t>
            </a:r>
            <a:r>
              <a:rPr lang="en-ZA" sz="2800" b="1" dirty="0" smtClean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</a:t>
            </a:r>
          </a:p>
          <a:p>
            <a:pPr algn="ctr">
              <a:defRPr/>
            </a:pPr>
            <a:endParaRPr lang="en-ZA" sz="2800" b="1" dirty="0" smtClean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800" b="1" dirty="0" smtClean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nual </a:t>
            </a:r>
            <a:r>
              <a:rPr lang="en-ZA" sz="2800" b="1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lan 2021/22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99371" y="4465568"/>
            <a:ext cx="699310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32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 SSS Buthelezi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0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rector-General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0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ional Department of Health</a:t>
            </a:r>
            <a:endParaRPr lang="en-US" sz="2000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33400" y="142875"/>
            <a:ext cx="8110538" cy="928688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en-GB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j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71047" y="3156248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400" dirty="0" smtClean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 May 2021</a:t>
            </a:r>
            <a:endParaRPr lang="en-US" sz="1600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683592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1: Administratio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52444916"/>
              </p:ext>
            </p:extLst>
          </p:nvPr>
        </p:nvGraphicFramePr>
        <p:xfrm>
          <a:off x="395536" y="1196752"/>
          <a:ext cx="8352928" cy="4308720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198197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1261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74897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al Management strengthened in the health sec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 outcome of National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 outcome of National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19/20 FY recei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20/21 FY recei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21/22 FY recei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22/23 FY recei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151893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agement of Medico-legal cases in the health system strengthen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to manage medico-legal claims in South Africa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to manage medico-legal claims in South Africa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developed to manage medico-legal claims in South Africa draf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 policy framework was adopted in 2015, under the former Minister, anchored on three pillars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e State Liability Amendment Act is being processed through Parliament by the Department of Justice.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gazette to manage medico-legal claims in South Africa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developed to manage medico-legal claims in South Africa implemented and monitor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to manage medico-legal claims in South Africa implemented and monitor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9421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0483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1: Administratio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3480060"/>
              </p:ext>
            </p:extLst>
          </p:nvPr>
        </p:nvGraphicFramePr>
        <p:xfrm>
          <a:off x="323528" y="1143955"/>
          <a:ext cx="8352928" cy="3535934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111109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707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58354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gent liability reduced to under 60% of the backlog in valu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secure case management system developed and implemented to streamline case management and reduce contingent liabilit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secure case management system developed and implemented to streamline case management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e Management system developed and implemented in 3 provi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e Management System used to manage new medico legal claims in 7 provi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58354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Health Promotion messages actively marketed through social medi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ealth promotion messages broadcasted on Social Media to supplement other channels of communicat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health promotion messages broadcasted on social media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 health promotion messages broadcasted on social media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 health promotion messages broadcasted on social media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health promotion messages broadcasted on social media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1255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75581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188640"/>
            <a:ext cx="6463630" cy="543595"/>
          </a:xfrm>
        </p:spPr>
        <p:txBody>
          <a:bodyPr/>
          <a:lstStyle/>
          <a:p>
            <a:r>
              <a:rPr lang="en-ZA" sz="2400" b="1" dirty="0"/>
              <a:t>PROGRAMME 2 - </a:t>
            </a:r>
            <a:r>
              <a:rPr lang="en-GB" sz="2400" b="1" dirty="0"/>
              <a:t>NATIONAL HEALTH INSURANCE</a:t>
            </a:r>
            <a:endParaRPr lang="en-ZA" sz="24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381000" y="1916832"/>
            <a:ext cx="8229600" cy="2514600"/>
          </a:xfrm>
        </p:spPr>
        <p:txBody>
          <a:bodyPr/>
          <a:lstStyle/>
          <a:p>
            <a:pPr algn="ctr">
              <a:buNone/>
            </a:pPr>
            <a:r>
              <a:rPr lang="en-ZA" sz="2800" dirty="0"/>
              <a:t>The purpose of </a:t>
            </a:r>
            <a:r>
              <a:rPr lang="en-GB" sz="2800" dirty="0"/>
              <a:t>National Health Insurance Programme is to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improve access to quality health services</a:t>
            </a:r>
            <a:r>
              <a:rPr lang="en-GB" sz="2800" dirty="0"/>
              <a:t> through the development and implementation of policies to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achieve universal health coverage</a:t>
            </a:r>
            <a:r>
              <a:rPr lang="en-GB" sz="2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GB" sz="2800" dirty="0"/>
              <a:t>and</a:t>
            </a:r>
            <a:r>
              <a:rPr lang="en-GB" sz="2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health financing reform</a:t>
            </a: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24519328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2: National Health Insuranc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6518730"/>
              </p:ext>
            </p:extLst>
          </p:nvPr>
        </p:nvGraphicFramePr>
        <p:xfrm>
          <a:off x="251520" y="1052736"/>
          <a:ext cx="8352928" cy="4971035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41518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264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218053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ckage of services available to the population is expanded on the basis of cost-effectiveness and equity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HI Bill purchasing Health Services by 2023/2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HI Fund purchasing health services by 2023/24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tfolio Committee public hearings on the NHI Bill in Parliament attend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tfolio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ittee and NCOP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ublic hearings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 the NHI Bill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 Parliament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ttend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HI Fund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ablished as a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ublic entit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HI Bill purchasing Health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218053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dical Aid Beneficiaries registered on HPR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dical Aid Beneficiaries registered on HPR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dical Aid Beneficiaries registered on HPR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roject plan in partnership with Council for Medical Schemes (CMS) develop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1255859"/>
                  </a:ext>
                </a:extLst>
              </a:tr>
              <a:tr h="218053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chnical Working Group appointed to draft the Service benefit framework for PHC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chnical Working Group appointed to draft the Service benefit framework for PHC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chnical Working Group appointed to draft the Service benefit framework for PHC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rvice benefits framework for PHC comple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rvice benefit framework for Regional and Specialist Hospitals develop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rvice benefit framework for District, Central and Tertiary Hospitals develop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8305888"/>
                  </a:ext>
                </a:extLst>
              </a:tr>
              <a:tr h="218053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4.5  million Patients registered to receive medicines through the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alised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hronic medicine dispensing and distribution (CCMDD) system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 number of patients registered to receive medicines through the CCMDD system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mill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5 mill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mill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5 mill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14629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12272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2: National Health Insuranc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0323589"/>
              </p:ext>
            </p:extLst>
          </p:nvPr>
        </p:nvGraphicFramePr>
        <p:xfrm>
          <a:off x="395536" y="1340769"/>
          <a:ext cx="8352928" cy="1921447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348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ources are available to managers and frontline providers, with flexibility to manage it according to their local need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30 health facilities reporting stock availability at national surveillance centre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 number of health facilities reporting stock availability at national surveillance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e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788 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3310 Clinics/CHC/CDC, 379 Hospitals, 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9 Other medicine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orage sites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3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5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6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54293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6707088" cy="648072"/>
          </a:xfrm>
        </p:spPr>
        <p:txBody>
          <a:bodyPr/>
          <a:lstStyle/>
          <a:p>
            <a:r>
              <a:rPr lang="en-ZA" sz="2800" b="1" dirty="0"/>
              <a:t>Programme 3 - Communicable and Non-Communicable Diseas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457200" y="990600"/>
            <a:ext cx="8229600" cy="4709160"/>
          </a:xfrm>
        </p:spPr>
        <p:txBody>
          <a:bodyPr/>
          <a:lstStyle/>
          <a:p>
            <a:pPr marL="0" indent="0" algn="ctr">
              <a:buNone/>
            </a:pPr>
            <a:endParaRPr lang="en-ZA" sz="2400" dirty="0"/>
          </a:p>
          <a:p>
            <a:pPr marL="0" indent="0" algn="ctr">
              <a:buNone/>
            </a:pPr>
            <a:r>
              <a:rPr lang="en-GB" sz="2400" dirty="0"/>
              <a:t>The programme </a:t>
            </a:r>
            <a:r>
              <a:rPr lang="en-GB" sz="2400" b="1" dirty="0">
                <a:solidFill>
                  <a:schemeClr val="accent3"/>
                </a:solidFill>
              </a:rPr>
              <a:t>develops and supports the implementation </a:t>
            </a:r>
            <a:r>
              <a:rPr lang="en-GB" sz="2400" dirty="0"/>
              <a:t>of national policies, guidelines, norms and standards, and achievement of targets for the national response needed to </a:t>
            </a:r>
            <a:r>
              <a:rPr lang="en-GB" sz="2400" b="1" dirty="0">
                <a:solidFill>
                  <a:schemeClr val="accent3"/>
                </a:solidFill>
              </a:rPr>
              <a:t>decrease morbidity and mortality</a:t>
            </a:r>
            <a:r>
              <a:rPr lang="en-GB" sz="2400" b="1" dirty="0"/>
              <a:t> </a:t>
            </a:r>
            <a:r>
              <a:rPr lang="en-GB" sz="2400" dirty="0"/>
              <a:t>associated with </a:t>
            </a:r>
            <a:r>
              <a:rPr lang="en-GB" sz="2400" b="1" dirty="0">
                <a:solidFill>
                  <a:schemeClr val="accent3"/>
                </a:solidFill>
              </a:rPr>
              <a:t>communicable diseases </a:t>
            </a:r>
            <a:r>
              <a:rPr lang="en-GB" sz="2400" dirty="0"/>
              <a:t>(HIV, Tuberculosis, Malaria, Influenza and others) and </a:t>
            </a:r>
            <a:r>
              <a:rPr lang="en-GB" sz="2400" b="1" dirty="0">
                <a:solidFill>
                  <a:schemeClr val="accent3"/>
                </a:solidFill>
              </a:rPr>
              <a:t>non-communicable diseases </a:t>
            </a:r>
            <a:r>
              <a:rPr lang="en-GB" sz="2400" dirty="0"/>
              <a:t>(mental health; cancer, hypertension, diabetes and others). It is also responsible to develop strategies and implement programmes that </a:t>
            </a:r>
            <a:r>
              <a:rPr lang="en-GB" sz="2400" b="1" dirty="0">
                <a:solidFill>
                  <a:schemeClr val="accent3"/>
                </a:solidFill>
              </a:rPr>
              <a:t>reduces Maternal and Child Mortality</a:t>
            </a:r>
            <a:r>
              <a:rPr lang="en-GB" sz="2400" dirty="0"/>
              <a:t>.</a:t>
            </a:r>
            <a:endParaRPr lang="en-US" sz="2400" dirty="0"/>
          </a:p>
          <a:p>
            <a:pPr algn="ctr">
              <a:buNone/>
            </a:pPr>
            <a:endParaRPr lang="en-ZA" sz="2400" dirty="0"/>
          </a:p>
        </p:txBody>
      </p:sp>
    </p:spTree>
    <p:extLst>
      <p:ext uri="{BB962C8B-B14F-4D97-AF65-F5344CB8AC3E}">
        <p14:creationId xmlns:p14="http://schemas.microsoft.com/office/powerpoint/2010/main" val="38300713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3: Communicable and non-communicable diseas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93240597"/>
              </p:ext>
            </p:extLst>
          </p:nvPr>
        </p:nvGraphicFramePr>
        <p:xfrm>
          <a:off x="323528" y="1124744"/>
          <a:ext cx="8352928" cy="4240151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908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bidity and Mortality due to Covid-19 reduced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llion persons vaccinated against Covid-19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ersons vaccinated against Covid-19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llion persons vaccinated against covid-1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ZA" sz="11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</a:t>
                      </a:r>
                      <a:r>
                        <a:rPr lang="en-ZA" sz="1100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908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8 hospitals obtain 75% and above on the food service policy assessment too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ospitals compliant with the food service polic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8 hospitals obtain 75% and above on the food service policy assessment tool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6 hospitals obtain 75% and above on the food service policy assessmen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6 hospitals obtain 75% and above on the food service policy assessment tool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908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IV incidence among youth reduc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0 additional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0 PHC facilities with youth zones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00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0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00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8394049"/>
                  </a:ext>
                </a:extLst>
              </a:tr>
              <a:tr h="908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Strategic Plan (NSP) for Non-Communicable Diseases (NCDs) developed and publish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developed and publish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developed 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developed and publish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implementation monitored; and 4 quarterly reports produc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implementation monitored; and 4 quarterly reports produc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17815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3264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3: Communicable and non-communicable diseas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7019266"/>
              </p:ext>
            </p:extLst>
          </p:nvPr>
        </p:nvGraphicFramePr>
        <p:xfrm>
          <a:off x="395536" y="1196752"/>
          <a:ext cx="8352928" cy="3945891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94583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TEF Targets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662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39466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ulti-sectoral strategy to guide implementation of National strategy for tobacco control intervention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strategy for tobacco control develop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aft Multi-sectoral strategy to guide implementation of National tobacco control intervention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proval and partial implementation of the multi-sectoral strategy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ue with implementation of the strategy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39466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 State patients *admitted into designated psychiatric hospital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State patients admitted into designated psychiatric hospitals 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 State patients admitted into designated psychiatric hospital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State patients admitted into designated psychiatric hospital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 State patients admitted into designated psychiatric hospital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41796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e quality and safety of car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medical officers and professional nurses trained ** to improve their skills in clinical management of mental disorder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medical officers and professional nurses trained to improve their skills in clinical management of mental disorder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medical officers and professional nurses trained to improve their skills in clinical management of mental disorder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medical officers and professional nurses trained to improve their skills in clinical management of mental disorder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984656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95536" y="5373216"/>
            <a:ext cx="84969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 State patients are defined as persons who allegedly committed a criminal offence due to mental illness and declared by the Court.</a:t>
            </a:r>
          </a:p>
          <a:p>
            <a:r>
              <a:rPr lang="en-US" sz="1200" dirty="0"/>
              <a:t>** working in units that are listed to conduct 72 hours assessment and psychiatric units attached to general hospitals</a:t>
            </a:r>
          </a:p>
        </p:txBody>
      </p:sp>
    </p:spTree>
    <p:extLst>
      <p:ext uri="{BB962C8B-B14F-4D97-AF65-F5344CB8AC3E}">
        <p14:creationId xmlns:p14="http://schemas.microsoft.com/office/powerpoint/2010/main" val="21574772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3: Communicable and non-communicable diseas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5970431"/>
              </p:ext>
            </p:extLst>
          </p:nvPr>
        </p:nvGraphicFramePr>
        <p:xfrm>
          <a:off x="395536" y="1340769"/>
          <a:ext cx="8352928" cy="2375154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88252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al, Child, Infant and neonatal mortalities reduced 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ap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ap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monitored for implement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monitored for implement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88252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appro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appro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monitored for implement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monitored for implementat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918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6707088" cy="648072"/>
          </a:xfrm>
        </p:spPr>
        <p:txBody>
          <a:bodyPr/>
          <a:lstStyle/>
          <a:p>
            <a:r>
              <a:rPr lang="en-ZA" sz="2800" b="1" dirty="0"/>
              <a:t>Programme 4: Primary Health Ca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628650" y="1124744"/>
            <a:ext cx="7886700" cy="4351338"/>
          </a:xfrm>
        </p:spPr>
        <p:txBody>
          <a:bodyPr/>
          <a:lstStyle/>
          <a:p>
            <a:pPr marL="0" indent="1588" algn="ctr">
              <a:buNone/>
            </a:pPr>
            <a:endParaRPr lang="en-ZA" sz="2800" dirty="0"/>
          </a:p>
          <a:p>
            <a:pPr marL="0" indent="0" algn="ctr">
              <a:buNone/>
            </a:pPr>
            <a:r>
              <a:rPr lang="en-GB" dirty="0"/>
              <a:t>To develop and oversee the implementation of legislation, policies, systems, and norms and standards for a </a:t>
            </a:r>
            <a:r>
              <a:rPr lang="en-GB" b="1" dirty="0">
                <a:solidFill>
                  <a:schemeClr val="accent3"/>
                </a:solidFill>
              </a:rPr>
              <a:t>uniform well-functioning District Health System</a:t>
            </a:r>
            <a:r>
              <a:rPr lang="en-GB" dirty="0"/>
              <a:t>, including </a:t>
            </a:r>
            <a:r>
              <a:rPr lang="en-GB" b="1" dirty="0">
                <a:solidFill>
                  <a:schemeClr val="accent3"/>
                </a:solidFill>
              </a:rPr>
              <a:t>Emergency and Environmental Health Services</a:t>
            </a:r>
            <a:r>
              <a:rPr lang="en-GB" dirty="0"/>
              <a:t>. </a:t>
            </a:r>
            <a:endParaRPr lang="en-US" dirty="0"/>
          </a:p>
          <a:p>
            <a:pPr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39762622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B2AE6-7AE6-4FCB-B16F-BA917860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020" y="188640"/>
            <a:ext cx="6463630" cy="543595"/>
          </a:xfrm>
        </p:spPr>
        <p:txBody>
          <a:bodyPr/>
          <a:lstStyle/>
          <a:p>
            <a:pPr algn="l"/>
            <a:r>
              <a:rPr lang="en-ZA" sz="2400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A775F8-8413-4BEE-8625-D4370DC13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253331"/>
            <a:ext cx="8352928" cy="4351338"/>
          </a:xfrm>
        </p:spPr>
        <p:txBody>
          <a:bodyPr/>
          <a:lstStyle/>
          <a:p>
            <a:r>
              <a:rPr lang="en-ZA" sz="2400" dirty="0"/>
              <a:t>Background and Introduction</a:t>
            </a:r>
          </a:p>
          <a:p>
            <a:pPr lvl="1"/>
            <a:r>
              <a:rPr lang="en-ZA" sz="2000" dirty="0"/>
              <a:t>Health sector’s priorities</a:t>
            </a:r>
          </a:p>
          <a:p>
            <a:pPr lvl="1"/>
            <a:r>
              <a:rPr lang="en-ZA" sz="2000" dirty="0" err="1"/>
              <a:t>Emperical</a:t>
            </a:r>
            <a:r>
              <a:rPr lang="en-ZA" sz="2000" dirty="0"/>
              <a:t> evidence / additional diagnostic reports</a:t>
            </a:r>
          </a:p>
          <a:p>
            <a:r>
              <a:rPr lang="en-ZA" sz="2400" dirty="0"/>
              <a:t>Strategic Plan 2020/21 – 2024/25</a:t>
            </a:r>
          </a:p>
          <a:p>
            <a:r>
              <a:rPr lang="en-ZA" sz="2400" dirty="0"/>
              <a:t>Annual Performance Plan 2021/22</a:t>
            </a:r>
          </a:p>
          <a:p>
            <a:pPr lvl="1"/>
            <a:r>
              <a:rPr lang="en-ZA" sz="2000" dirty="0"/>
              <a:t>Performance Information (Outputs, Output Indicators and Targets)</a:t>
            </a:r>
          </a:p>
          <a:p>
            <a:pPr lvl="1"/>
            <a:r>
              <a:rPr lang="en-ZA" sz="2000" dirty="0"/>
              <a:t>Financial Information </a:t>
            </a:r>
          </a:p>
          <a:p>
            <a:pPr lvl="2"/>
            <a:r>
              <a:rPr lang="en-ZA" sz="1600" dirty="0"/>
              <a:t>Equitable Share</a:t>
            </a:r>
          </a:p>
          <a:p>
            <a:pPr lvl="2"/>
            <a:r>
              <a:rPr lang="en-ZA" sz="1600" dirty="0"/>
              <a:t>Conditional Grants</a:t>
            </a:r>
          </a:p>
        </p:txBody>
      </p:sp>
    </p:spTree>
    <p:extLst>
      <p:ext uri="{BB962C8B-B14F-4D97-AF65-F5344CB8AC3E}">
        <p14:creationId xmlns:p14="http://schemas.microsoft.com/office/powerpoint/2010/main" val="7104471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4: Primary Health Car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90759611"/>
              </p:ext>
            </p:extLst>
          </p:nvPr>
        </p:nvGraphicFramePr>
        <p:xfrm>
          <a:off x="395536" y="1340770"/>
          <a:ext cx="8352928" cy="2967610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 PHC Facilities and 80 Hospitals implementing the National Quality Improvement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ealth facilities implementing the National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0 PHC Facilities and 50 Hospitals implementing the National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PHC Facilities and 80 Hospitals implementing the National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% of public facilities implementing Quality Improvement Pla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 of public facilities implementing Quality Improvement Pla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00 PHC facilities that qualify as Ideal Clinic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imary health care facilities that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08  PHC facilities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00  PHC facilities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00 PHC facilities that qualify as Ideal Clinic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50 PHC facilities that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0427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4: Primary Health Car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3059230"/>
              </p:ext>
            </p:extLst>
          </p:nvPr>
        </p:nvGraphicFramePr>
        <p:xfrm>
          <a:off x="395536" y="1340769"/>
          <a:ext cx="8352928" cy="2864486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TEF Targets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on Traditional Medicine approved  and implementation commenc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on Traditional Medicine approved  and implementation commenc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aft Policy and implementation guidelines on Traditional Medicine  presented to the Interim traditional practitioners council for consultation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and implementation guidelines on Traditional Medicine approved and implementation commenc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on Traditional Medicine Implemented and Monitor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on Traditional Medicine Implemented and Monitor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Ports of entry services compliant with international health regulations per year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orts of entry  compliant with international health regulations based on self-assessments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orts of entry compliant with international health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ports of entry compliant with international health regulations based on self-assessments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 ports of entry complaint with international health regulations based on self-assessment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ports of entry compliant with international health regulations based on self-assessments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52205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4: Primary Health Car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3731371"/>
              </p:ext>
            </p:extLst>
          </p:nvPr>
        </p:nvGraphicFramePr>
        <p:xfrm>
          <a:off x="395536" y="1340770"/>
          <a:ext cx="8352928" cy="2942273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TEF Targets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participation promoted to ensure health system responsiveness and effective management of their health need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ing system for measuring effectiveness of clinic committees tested in 200 clinic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clinics testing the guidelines for measuring effectiveness of clinic committees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uidelines for monitoring effectiveness of clinic committees piloted.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 clinics testing the guideline for measuring effectiveness of clinic committees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clinic committees compliant to measurement guidelines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 000 clients lost to follow up for treatment traced by CHW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clients lost to follow up for treatment traced by CHW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 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 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0,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,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0 PHC Facilities with Ward Based Outreach team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HC Facilities with Ward Based Outreach Team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467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82606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61895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4: Primary Health Car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9292972"/>
              </p:ext>
            </p:extLst>
          </p:nvPr>
        </p:nvGraphicFramePr>
        <p:xfrm>
          <a:off x="395536" y="1340770"/>
          <a:ext cx="8352928" cy="3659824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TEF Targets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districts and metropolitan municipalities compliant with National Environmental Health Norms and Standards.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ropolitan and District Municipalities that performed below 65% assessed for compliance to National Environmental Health Norms and Standard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Metropolitan and District Municipalities that performed below 65% assessed for compliance to National Environmental Health Norms and Standard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Metropolitan and District Municipalities assessed for compliance to National Environmental Health Norms and Standard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Metropolitan and District Municipalities assessed for compliance to National Environmental Health Norms and Standard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ovinces assessed for compliance with Emergency Medical Services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improvement plans of 9 Provincial DoH monitor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improvement plans of 9 Provincial </a:t>
                      </a:r>
                      <a:r>
                        <a:rPr lang="en-US" sz="1100" kern="12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monitor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89395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6707088" cy="648072"/>
          </a:xfrm>
        </p:spPr>
        <p:txBody>
          <a:bodyPr/>
          <a:lstStyle/>
          <a:p>
            <a:r>
              <a:rPr lang="en-ZA" sz="2400" b="1" dirty="0"/>
              <a:t>PROGRAMME 5: HOSPITAL SYSTEM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628650" y="1124744"/>
            <a:ext cx="7886700" cy="4351338"/>
          </a:xfrm>
        </p:spPr>
        <p:txBody>
          <a:bodyPr/>
          <a:lstStyle/>
          <a:p>
            <a:pPr marL="0" indent="0" algn="ctr">
              <a:buNone/>
            </a:pPr>
            <a:endParaRPr lang="en-ZA" sz="1800" dirty="0"/>
          </a:p>
          <a:p>
            <a:pPr marL="0" indent="0" algn="ctr">
              <a:buNone/>
            </a:pPr>
            <a:r>
              <a:rPr lang="en-GB" sz="2400" dirty="0"/>
              <a:t>Develops </a:t>
            </a:r>
            <a:r>
              <a:rPr lang="en-GB" sz="2400" b="1" dirty="0">
                <a:solidFill>
                  <a:schemeClr val="accent3"/>
                </a:solidFill>
              </a:rPr>
              <a:t>national policy on hospital services </a:t>
            </a:r>
            <a:r>
              <a:rPr lang="en-GB" sz="2400" dirty="0"/>
              <a:t>and responsibilities by level of care; providing clear guidelines for referral and improved communication; developing detailed hospital plans; and facilitating </a:t>
            </a:r>
            <a:r>
              <a:rPr lang="en-GB" sz="2400" b="1" dirty="0">
                <a:solidFill>
                  <a:schemeClr val="accent3"/>
                </a:solidFill>
              </a:rPr>
              <a:t>quality improvement </a:t>
            </a:r>
            <a:r>
              <a:rPr lang="en-GB" sz="2400" dirty="0">
                <a:solidFill>
                  <a:schemeClr val="accent3"/>
                </a:solidFill>
              </a:rPr>
              <a:t>for hospitals</a:t>
            </a:r>
            <a:r>
              <a:rPr lang="en-GB" sz="2400" dirty="0"/>
              <a:t>. </a:t>
            </a:r>
          </a:p>
          <a:p>
            <a:pPr marL="0" indent="0" algn="ctr">
              <a:buNone/>
            </a:pPr>
            <a:endParaRPr lang="en-GB" sz="2400" dirty="0"/>
          </a:p>
          <a:p>
            <a:pPr marL="0" indent="0" algn="ctr">
              <a:buNone/>
            </a:pPr>
            <a:r>
              <a:rPr lang="en-GB" sz="2400" dirty="0"/>
              <a:t>The programme is further responsible for the </a:t>
            </a:r>
            <a:r>
              <a:rPr lang="en-GB" sz="2400" b="1" dirty="0">
                <a:solidFill>
                  <a:schemeClr val="accent3"/>
                </a:solidFill>
              </a:rPr>
              <a:t>management of the national tertiary services grant</a:t>
            </a:r>
            <a:r>
              <a:rPr lang="en-GB" sz="2400" dirty="0"/>
              <a:t> and ensures that </a:t>
            </a:r>
            <a:r>
              <a:rPr lang="en-GB" sz="2400" b="1" dirty="0">
                <a:solidFill>
                  <a:schemeClr val="accent3"/>
                </a:solidFill>
              </a:rPr>
              <a:t>planning of health infrastructure</a:t>
            </a:r>
            <a:r>
              <a:rPr lang="en-GB" sz="2400" dirty="0"/>
              <a:t> meets the health needs of the country.</a:t>
            </a:r>
            <a:endParaRPr lang="en-US" sz="2400" dirty="0"/>
          </a:p>
          <a:p>
            <a:pPr marL="0" indent="0" algn="ctr">
              <a:buNone/>
            </a:pPr>
            <a:r>
              <a:rPr lang="en-GB" sz="2400" b="1" i="1" dirty="0"/>
              <a:t> </a:t>
            </a:r>
            <a:endParaRPr lang="en-US" sz="2400" dirty="0"/>
          </a:p>
          <a:p>
            <a:pPr marL="0" indent="0" algn="ctr">
              <a:buNone/>
            </a:pPr>
            <a:endParaRPr lang="en-ZA" sz="1800" dirty="0"/>
          </a:p>
        </p:txBody>
      </p:sp>
    </p:spTree>
    <p:extLst>
      <p:ext uri="{BB962C8B-B14F-4D97-AF65-F5344CB8AC3E}">
        <p14:creationId xmlns:p14="http://schemas.microsoft.com/office/powerpoint/2010/main" val="29806405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60648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5: Hospital System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7788978"/>
              </p:ext>
            </p:extLst>
          </p:nvPr>
        </p:nvGraphicFramePr>
        <p:xfrm>
          <a:off x="395536" y="1124744"/>
          <a:ext cx="8352928" cy="3715322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ng and Delivery of infrastructure projects improv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HC facilities constructed or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Hospitals constructed or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ospitals constructed or revitalis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Hospital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1 Hospital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Hospital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Hospital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 public health Facilities (Clinics, Hospitals, nursing colleges, EMS base stations)  maintained, repaired and/or refurb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ublic health Facilities (Clinics, Hospitals, nursing colleges, EMS base stations)  maintained, repaired and/or refurb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5 public health Facilities (Clinics, Hospitals, nursing colleges, EMS base stations)  maintained, repaired and/or refurb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 public health Facilities (Clinics, Hospitals, nursing colleges, EMS base stations)  maintained, repaired and/or refurb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0 public health Facilities (Clinics, Hospitals, nursing colleges, EMS base stations)  maintained, repaired and/or refurb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 public health Facilities (Clinics, Hospitals, nursing colleges, EMS base stations)  maintained, repaired and/or refurb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41247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5114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6707088" cy="648072"/>
          </a:xfrm>
        </p:spPr>
        <p:txBody>
          <a:bodyPr/>
          <a:lstStyle/>
          <a:p>
            <a:r>
              <a:rPr lang="en-ZA" sz="2400" b="0" dirty="0"/>
              <a:t>PROGRAMME 6 – </a:t>
            </a:r>
            <a:r>
              <a:rPr lang="en-GB" sz="2400" b="0" dirty="0"/>
              <a:t>HEALTH SYSTEM GOVERNANCE AND HUMAN RESOURCES</a:t>
            </a:r>
            <a:endParaRPr lang="en-ZA" sz="2400" b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381000" y="1219200"/>
            <a:ext cx="8763000" cy="4800600"/>
          </a:xfrm>
        </p:spPr>
        <p:txBody>
          <a:bodyPr/>
          <a:lstStyle/>
          <a:p>
            <a:pPr marL="0" indent="0">
              <a:buNone/>
            </a:pPr>
            <a:r>
              <a:rPr lang="en-GB" sz="1800" dirty="0"/>
              <a:t>The purpose of the programme is threefold:</a:t>
            </a:r>
          </a:p>
          <a:p>
            <a:r>
              <a:rPr lang="en-GB" sz="1800" dirty="0"/>
              <a:t>to achieve </a:t>
            </a:r>
            <a:r>
              <a:rPr lang="en-GB" sz="1800" b="1" dirty="0">
                <a:solidFill>
                  <a:schemeClr val="accent3"/>
                </a:solidFill>
              </a:rPr>
              <a:t>integrated health systems planning, monitoring and evaluation, health information systems and research</a:t>
            </a:r>
            <a:r>
              <a:rPr lang="en-GB" sz="1800" dirty="0"/>
              <a:t>. </a:t>
            </a:r>
            <a:endParaRPr lang="en-US" sz="1800" dirty="0"/>
          </a:p>
          <a:p>
            <a:r>
              <a:rPr lang="en-GB" sz="1800" dirty="0"/>
              <a:t>Develops and monitors the implementation of</a:t>
            </a:r>
            <a:r>
              <a:rPr lang="en-GB" sz="1800" b="1" dirty="0">
                <a:solidFill>
                  <a:schemeClr val="accent3"/>
                </a:solidFill>
              </a:rPr>
              <a:t> health workforce policies </a:t>
            </a:r>
            <a:r>
              <a:rPr lang="en-GB" sz="1800" dirty="0"/>
              <a:t>and ensures </a:t>
            </a:r>
            <a:r>
              <a:rPr lang="en-GB" sz="1800" b="1" dirty="0">
                <a:solidFill>
                  <a:srgbClr val="92D050"/>
                </a:solidFill>
              </a:rPr>
              <a:t>effective health workforce planning, development and management </a:t>
            </a:r>
            <a:r>
              <a:rPr lang="en-GB" sz="1800" dirty="0"/>
              <a:t>in the national health system, as well as </a:t>
            </a:r>
            <a:r>
              <a:rPr lang="en-GB" sz="1800" b="1" dirty="0">
                <a:solidFill>
                  <a:schemeClr val="accent3"/>
                </a:solidFill>
              </a:rPr>
              <a:t>alignment of academic medical centres with health workforce programmes</a:t>
            </a:r>
            <a:r>
              <a:rPr lang="en-GB" sz="1800" dirty="0"/>
              <a:t> and training of health professionals.  It assists the government to achieve the population health goals of the country through nursing and midwifery, through the provision of </a:t>
            </a:r>
            <a:r>
              <a:rPr lang="en-GB" sz="1800" b="1" dirty="0">
                <a:solidFill>
                  <a:schemeClr val="accent3"/>
                </a:solidFill>
              </a:rPr>
              <a:t>expert policy and technical advice and recommendations on the role of nurses in attainment of desired health outputs</a:t>
            </a:r>
            <a:r>
              <a:rPr lang="en-GB" sz="1800" dirty="0"/>
              <a:t>. </a:t>
            </a:r>
            <a:endParaRPr lang="en-US" sz="1800" dirty="0"/>
          </a:p>
          <a:p>
            <a:r>
              <a:rPr lang="en-GB" sz="1800" dirty="0"/>
              <a:t>Lastly, the programme also has the responsibility for </a:t>
            </a:r>
            <a:r>
              <a:rPr lang="en-GB" sz="1800" b="1" dirty="0">
                <a:solidFill>
                  <a:schemeClr val="accent3"/>
                </a:solidFill>
              </a:rPr>
              <a:t>oversight over public entities and statutory health professional councils</a:t>
            </a:r>
            <a:r>
              <a:rPr lang="en-GB" sz="1800" dirty="0"/>
              <a:t>, and ensuring compliance by with applicable legislative prescripts.</a:t>
            </a:r>
            <a:endParaRPr lang="en-US" sz="1800" dirty="0"/>
          </a:p>
          <a:p>
            <a:pPr marL="0" indent="1588" algn="ctr">
              <a:buNone/>
            </a:pPr>
            <a:r>
              <a:rPr lang="en-GB" sz="1600" dirty="0"/>
              <a:t>. </a:t>
            </a:r>
            <a:endParaRPr lang="en-ZA" sz="1600" dirty="0"/>
          </a:p>
          <a:p>
            <a:pPr>
              <a:buNone/>
            </a:pPr>
            <a:endParaRPr lang="en-ZA" sz="1600" dirty="0"/>
          </a:p>
        </p:txBody>
      </p:sp>
    </p:spTree>
    <p:extLst>
      <p:ext uri="{BB962C8B-B14F-4D97-AF65-F5344CB8AC3E}">
        <p14:creationId xmlns:p14="http://schemas.microsoft.com/office/powerpoint/2010/main" val="18691307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6: Health System Governance and Human Resourc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852316"/>
              </p:ext>
            </p:extLst>
          </p:nvPr>
        </p:nvGraphicFramePr>
        <p:xfrm>
          <a:off x="395536" y="1340769"/>
          <a:ext cx="8352928" cy="3715322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118174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823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503974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 9 Public nursing colleges supported to achieve accreditation for </a:t>
                      </a:r>
                      <a:r>
                        <a:rPr lang="en-US" sz="11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basic</a:t>
                      </a: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specialist nursing and midwifery </a:t>
                      </a:r>
                      <a:r>
                        <a:rPr lang="en-US" sz="11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ublic nursing colleges supported to achieve accreditation for r basic and specialist nursing and midwifery programm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ublic nursing colleges accredited and registered to offer basic nursing and midwifery programm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ublic nursing colleges supported to achieve accreditation for basic and specialist nursing and midwifery </a:t>
                      </a:r>
                      <a:r>
                        <a:rPr lang="en-US" sz="11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447658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supported to develop implementation plans for strengthening clinical governan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ovinces supported to develop implementation plans for strengthening clinical governan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inical governance system assessed, and 3 provinces supported to develop implementation plan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supported to develop implementation plans for strengthening clinical governan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68213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6: Health System Governance and Human Resourc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11373633"/>
              </p:ext>
            </p:extLst>
          </p:nvPr>
        </p:nvGraphicFramePr>
        <p:xfrm>
          <a:off x="395536" y="1340769"/>
          <a:ext cx="8352928" cy="2169796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29017">
                <a:tc rowSpan="2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ff equitably distributed and have right skills and attitude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publish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published;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review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Publ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implemented and monitor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29017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 eligible students allocated to a health facility for community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centage of eligible students allocated to a health facility for community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 eligible students allocated to a health facility for community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 eligible students allocated to a health facility for community servi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 eligible students allocated to a health facility for community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9435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6: Health System Governance and Human Resourc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9212672"/>
              </p:ext>
            </p:extLst>
          </p:nvPr>
        </p:nvGraphicFramePr>
        <p:xfrm>
          <a:off x="395536" y="1340769"/>
          <a:ext cx="8352928" cy="4432872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ormation systems are responsive to local needs to enhance data use and improve quality of car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Covid-19 vaccination sites registered on the EVDS to use the  Electronic Vaccination Data System (EVDS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 Covid-19 vaccination sites  registered to use  the Electronic Vaccination Data System (EVDS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Covid-19 vaccination sites registered to use the Electronic Vaccination Data System (EVDS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00 Covid-19 vaccination sites registered to use Electronic Vaccination Data System (EVDS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0 Covid-19 vaccination sites registered to use  the Electronic Vaccination Data System (EVDS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aptive learning and decision making is improved through use of strategic information and eviden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Health Research Priorities identified to generate the required knowledge for the South African health system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sed set of Health research prioritie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Health Research Priorities identifi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sed set of Health research prioritie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Health Research priorities implement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ormation systems are responsive to local needs to enhance data use and improve quality of car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pha version of networked TB/HIV Plus Information System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pha version of networked TB/HIV Plus Information System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totype of networked TB/HIV Plus Information System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pha version of networked TB/HIV Plus Information System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worked TB/HIV Plus Information System tested and implemen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9443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17509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B2AE6-7AE6-4FCB-B16F-BA917860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122696"/>
            <a:ext cx="6463630" cy="543595"/>
          </a:xfrm>
        </p:spPr>
        <p:txBody>
          <a:bodyPr/>
          <a:lstStyle/>
          <a:p>
            <a:r>
              <a:rPr lang="en-ZA" sz="2400" dirty="0"/>
              <a:t>Health sector’s response to MTSF 2019-2024 and Presidential Health Compac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08F2C9-7CAD-4470-95C1-0F459CCF7B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808" y="964162"/>
            <a:ext cx="8208912" cy="5771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5022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800" dirty="0">
                <a:latin typeface="Arial Black" pitchFamily="34" charset="0"/>
              </a:rPr>
              <a:t>Financ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2579605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1"/>
          <p:cNvSpPr txBox="1">
            <a:spLocks noChangeArrowheads="1"/>
          </p:cNvSpPr>
          <p:nvPr/>
        </p:nvSpPr>
        <p:spPr bwMode="auto">
          <a:xfrm>
            <a:off x="762000" y="1357313"/>
            <a:ext cx="79248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sz="2400" b="1">
              <a:solidFill>
                <a:srgbClr val="000000"/>
              </a:solidFill>
            </a:endParaRPr>
          </a:p>
          <a:p>
            <a:pPr algn="just" eaLnBrk="1" hangingPunct="1"/>
            <a:endParaRPr lang="en-US" altLang="en-US" sz="2400">
              <a:solidFill>
                <a:srgbClr val="7F7F7F"/>
              </a:solidFill>
            </a:endParaRPr>
          </a:p>
        </p:txBody>
      </p:sp>
      <p:sp>
        <p:nvSpPr>
          <p:cNvPr id="13315" name="Slide Number Placeholder 19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00375" y="5786438"/>
            <a:ext cx="1571625" cy="1071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sp>
        <p:nvSpPr>
          <p:cNvPr id="13317" name="Title 7"/>
          <p:cNvSpPr>
            <a:spLocks noGrp="1"/>
          </p:cNvSpPr>
          <p:nvPr>
            <p:ph type="title" idx="4294967295"/>
          </p:nvPr>
        </p:nvSpPr>
        <p:spPr bwMode="auto">
          <a:xfrm>
            <a:off x="914400" y="5715000"/>
            <a:ext cx="7834313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1" hangingPunct="1"/>
            <a:fld id="{7DF3E992-93F5-4A00-8DCF-B4B25CBA9AB1}" type="slidenum">
              <a:rPr lang="en-ZA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31</a:t>
            </a:fld>
            <a:r>
              <a:rPr lang="en-ZA" altLang="en-US"/>
              <a:t> </a:t>
            </a:r>
          </a:p>
        </p:txBody>
      </p:sp>
      <p:sp>
        <p:nvSpPr>
          <p:cNvPr id="13318" name="Rectangle 2"/>
          <p:cNvSpPr txBox="1">
            <a:spLocks noChangeArrowheads="1"/>
          </p:cNvSpPr>
          <p:nvPr/>
        </p:nvSpPr>
        <p:spPr bwMode="auto">
          <a:xfrm>
            <a:off x="762000" y="-285750"/>
            <a:ext cx="55626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          Summary per Programme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0310604"/>
              </p:ext>
            </p:extLst>
          </p:nvPr>
        </p:nvGraphicFramePr>
        <p:xfrm>
          <a:off x="179512" y="1295415"/>
          <a:ext cx="8717770" cy="213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Лист" r:id="rId4" imgW="8600975" imgH="2105110" progId="Excel.Sheet.12">
                  <p:embed/>
                </p:oleObj>
              </mc:Choice>
              <mc:Fallback>
                <p:oleObj name="Лист" r:id="rId4" imgW="8600975" imgH="2105110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512" y="1295415"/>
                        <a:ext cx="8717770" cy="213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60630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971550" y="5951538"/>
            <a:ext cx="7834313" cy="43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1" hangingPunct="1"/>
            <a:fld id="{89CD5BC2-44F2-435A-BB65-3BF8572D4399}" type="slidenum">
              <a:rPr lang="en-ZA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32</a:t>
            </a:fld>
            <a:r>
              <a:rPr lang="en-ZA" altLang="en-US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5363" name="Rectangle 2"/>
          <p:cNvSpPr txBox="1">
            <a:spLocks noChangeArrowheads="1"/>
          </p:cNvSpPr>
          <p:nvPr/>
        </p:nvSpPr>
        <p:spPr bwMode="auto">
          <a:xfrm>
            <a:off x="642938" y="-71438"/>
            <a:ext cx="5562600" cy="99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>
                <a:solidFill>
                  <a:srgbClr val="FFFFFF"/>
                </a:solidFill>
              </a:rPr>
              <a:t>         Summary per    </a:t>
            </a:r>
          </a:p>
          <a:p>
            <a:pPr algn="ctr" eaLnBrk="1" hangingPunct="1"/>
            <a:r>
              <a:rPr lang="en-GB" altLang="en-US" sz="2800" b="1">
                <a:solidFill>
                  <a:srgbClr val="FFFFFF"/>
                </a:solidFill>
              </a:rPr>
              <a:t>         Economic Classification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855508"/>
              </p:ext>
            </p:extLst>
          </p:nvPr>
        </p:nvGraphicFramePr>
        <p:xfrm>
          <a:off x="271462" y="1700808"/>
          <a:ext cx="8601075" cy="1914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Лист" r:id="rId4" imgW="8600975" imgH="1914460" progId="Excel.Sheet.12">
                  <p:embed/>
                </p:oleObj>
              </mc:Choice>
              <mc:Fallback>
                <p:oleObj name="Лист" r:id="rId4" imgW="8600975" imgH="1914460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71462" y="1700808"/>
                        <a:ext cx="8601075" cy="1914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60968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5536" y="1628800"/>
            <a:ext cx="8424936" cy="3762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baseline has been decreased across all the economic classifications due to economic pressures as a result of the Covid-19 pandemic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ensation of employe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OE ceiling was reduced with 12%, resulting in reductions across all the programmes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ods &amp; servic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4.35 billion was allocated for the procurement of Covid-19 vaccines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allocation for indirect </a:t>
            </a:r>
            <a:r>
              <a:rPr lang="en-ZA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I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rants under Programmes 2 and 5 has been materially decreased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itional funds have been allocated under Programme 1 to fund the related expenditure due to the relocation of the Department to another building.</a:t>
            </a:r>
            <a:endParaRPr lang="en-ZA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115616" y="7383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REASONS FOR DEVIATIONS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B72C39D4-2D18-4160-A540-6838520FFF42}"/>
              </a:ext>
            </a:extLst>
          </p:cNvPr>
          <p:cNvSpPr txBox="1">
            <a:spLocks/>
          </p:cNvSpPr>
          <p:nvPr/>
        </p:nvSpPr>
        <p:spPr>
          <a:xfrm>
            <a:off x="8305800" y="6375608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3D2C757-A2D1-4D11-BDA9-37746333DD9E}" type="slidenum">
              <a:rPr lang="en-ZA" smtClean="0"/>
              <a:pPr algn="ctr"/>
              <a:t>3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292889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1115616" y="7383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REASONS FOR DEVIATIONS</a:t>
            </a:r>
          </a:p>
        </p:txBody>
      </p:sp>
      <p:sp>
        <p:nvSpPr>
          <p:cNvPr id="3" name="Rectangle 2"/>
          <p:cNvSpPr/>
          <p:nvPr/>
        </p:nvSpPr>
        <p:spPr>
          <a:xfrm>
            <a:off x="298376" y="1196753"/>
            <a:ext cx="8738120" cy="45491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fers &amp; subsidi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allocations for conditional grants and transfers to non-profit institutions were reduced with 3% and 13% respectively, across all the applicable programmes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ZA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NAC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ceived a once-off increase of R10 million, while allocations for the other Departmental Agencies have been decreased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rchase of capital asset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ZA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I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direct grant for the construction and refurbishment of health facilities under Programme 5, have been reduced with R107 million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allocation for the procurement of machinery &amp; equipment of the indirect </a:t>
            </a:r>
            <a:r>
              <a:rPr lang="en-ZA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I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rants under Programmes 2 and 5 has been decreased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apital allocations of all the units across all the programmes has been increased once-off to make provision for procurement of computer equipment and / or furniture due possible damage because of the relocation to another building.</a:t>
            </a:r>
            <a:endParaRPr lang="en-ZA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EA20DA1E-4B06-45C8-9BCD-ABFEA0793A44}"/>
              </a:ext>
            </a:extLst>
          </p:cNvPr>
          <p:cNvSpPr txBox="1">
            <a:spLocks/>
          </p:cNvSpPr>
          <p:nvPr/>
        </p:nvSpPr>
        <p:spPr>
          <a:xfrm>
            <a:off x="8305800" y="6309320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3D2C757-A2D1-4D11-BDA9-37746333DD9E}" type="slidenum">
              <a:rPr lang="en-ZA" smtClean="0"/>
              <a:pPr algn="ctr"/>
              <a:t>3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891221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19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1507" name="Rectangle 2"/>
          <p:cNvSpPr txBox="1">
            <a:spLocks noChangeArrowheads="1"/>
          </p:cNvSpPr>
          <p:nvPr/>
        </p:nvSpPr>
        <p:spPr bwMode="auto">
          <a:xfrm>
            <a:off x="-193675" y="112713"/>
            <a:ext cx="6388100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400" b="1">
                <a:solidFill>
                  <a:srgbClr val="FFFFFF"/>
                </a:solidFill>
              </a:rPr>
              <a:t> INDIRECT GRANTS SUMMARY (01)</a:t>
            </a:r>
          </a:p>
        </p:txBody>
      </p:sp>
      <p:sp>
        <p:nvSpPr>
          <p:cNvPr id="7" name="Rectangle 6"/>
          <p:cNvSpPr/>
          <p:nvPr/>
        </p:nvSpPr>
        <p:spPr>
          <a:xfrm>
            <a:off x="3000375" y="5786438"/>
            <a:ext cx="1571625" cy="1071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" y="1482973"/>
            <a:ext cx="8915400" cy="3744416"/>
          </a:xfrm>
          <a:prstGeom prst="rect">
            <a:avLst/>
          </a:prstGeom>
        </p:spPr>
      </p:pic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4D0854B2-D2B4-4349-84F5-53BDB98757A3}"/>
              </a:ext>
            </a:extLst>
          </p:cNvPr>
          <p:cNvSpPr txBox="1">
            <a:spLocks/>
          </p:cNvSpPr>
          <p:nvPr/>
        </p:nvSpPr>
        <p:spPr>
          <a:xfrm>
            <a:off x="8305800" y="6324600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3D2C757-A2D1-4D11-BDA9-37746333DD9E}" type="slidenum">
              <a:rPr lang="en-ZA" smtClean="0"/>
              <a:pPr algn="ctr"/>
              <a:t>3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818571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Rectangle 2"/>
          <p:cNvSpPr txBox="1">
            <a:spLocks noChangeArrowheads="1"/>
          </p:cNvSpPr>
          <p:nvPr/>
        </p:nvSpPr>
        <p:spPr bwMode="auto">
          <a:xfrm>
            <a:off x="395288" y="-71438"/>
            <a:ext cx="6480175" cy="99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400" b="1">
                <a:solidFill>
                  <a:srgbClr val="FFFFFF"/>
                </a:solidFill>
              </a:rPr>
              <a:t>[INDIRECT GRANTS SUMMARY (02)]</a:t>
            </a:r>
          </a:p>
        </p:txBody>
      </p:sp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0" y="952500"/>
            <a:ext cx="9144000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2000" dirty="0">
              <a:solidFill>
                <a:prstClr val="black"/>
              </a:solidFill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2300" dirty="0">
              <a:solidFill>
                <a:prstClr val="black"/>
              </a:solidFill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2400" dirty="0">
                <a:solidFill>
                  <a:prstClr val="black"/>
                </a:solidFill>
              </a:rPr>
              <a:t>	</a:t>
            </a:r>
          </a:p>
        </p:txBody>
      </p:sp>
      <p:sp>
        <p:nvSpPr>
          <p:cNvPr id="7" name="Content Placeholder 5"/>
          <p:cNvSpPr txBox="1">
            <a:spLocks/>
          </p:cNvSpPr>
          <p:nvPr/>
        </p:nvSpPr>
        <p:spPr>
          <a:xfrm>
            <a:off x="190500" y="1268760"/>
            <a:ext cx="8763000" cy="4800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overall reduction on indirect grants for 2021/22 is 16,3% (this is without the new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allocation for vaccines); this means that the 21% increase is artificial due to new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– 19 funding for vaccines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major reduction is under Infrastructure indirect grant with 19,6% followed by Non-Personal Services with 15,6%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reduction will have a negative impact on nationally managed programmes especially infrastructure projects. Some planned projects will need to be postponed due to limited funding. The current infrastructure backlog will continue to grow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department is in the process of establishing oncology services in underserved provinces however this process will be delayed due to budget cuts.</a:t>
            </a:r>
          </a:p>
          <a:p>
            <a:pPr>
              <a:buFont typeface="Arial" pitchFamily="34" charset="0"/>
              <a:buNone/>
            </a:pPr>
            <a:endParaRPr lang="en-Z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BAAADC69-FB12-4AC2-9019-78B669E65AAD}"/>
              </a:ext>
            </a:extLst>
          </p:cNvPr>
          <p:cNvSpPr txBox="1">
            <a:spLocks/>
          </p:cNvSpPr>
          <p:nvPr/>
        </p:nvSpPr>
        <p:spPr>
          <a:xfrm>
            <a:off x="8305800" y="6324600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3D2C757-A2D1-4D11-BDA9-37746333DD9E}" type="slidenum">
              <a:rPr lang="en-ZA" smtClean="0"/>
              <a:pPr algn="ctr"/>
              <a:t>3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301119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Number Placeholder 19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4579" name="Rectangle 2"/>
          <p:cNvSpPr txBox="1">
            <a:spLocks noChangeArrowheads="1"/>
          </p:cNvSpPr>
          <p:nvPr/>
        </p:nvSpPr>
        <p:spPr bwMode="auto">
          <a:xfrm>
            <a:off x="-193675" y="112713"/>
            <a:ext cx="6388100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400" b="1">
                <a:solidFill>
                  <a:srgbClr val="FFFFFF"/>
                </a:solidFill>
              </a:rPr>
              <a:t> DIRECT GRANTS SUMMARY (01)</a:t>
            </a:r>
          </a:p>
        </p:txBody>
      </p:sp>
      <p:sp>
        <p:nvSpPr>
          <p:cNvPr id="7" name="Rectangle 6"/>
          <p:cNvSpPr/>
          <p:nvPr/>
        </p:nvSpPr>
        <p:spPr>
          <a:xfrm>
            <a:off x="3000375" y="5786438"/>
            <a:ext cx="1571625" cy="1071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>
              <a:solidFill>
                <a:prstClr val="white"/>
              </a:solidFill>
            </a:endParaRPr>
          </a:p>
        </p:txBody>
      </p:sp>
      <p:sp>
        <p:nvSpPr>
          <p:cNvPr id="6" name="Slide Number Placeholder 6"/>
          <p:cNvSpPr txBox="1">
            <a:spLocks/>
          </p:cNvSpPr>
          <p:nvPr/>
        </p:nvSpPr>
        <p:spPr>
          <a:xfrm>
            <a:off x="8305800" y="6324600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37</a:t>
            </a:r>
            <a:endParaRPr lang="en-ZA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8760"/>
            <a:ext cx="9144000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5168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3779838" y="6137275"/>
            <a:ext cx="4752975" cy="72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1" hangingPunct="1"/>
            <a:fld id="{B8E522D9-9BAF-4E7F-9DCA-073C5D34D0A9}" type="slidenum">
              <a:rPr lang="en-ZA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38</a:t>
            </a:fld>
            <a:r>
              <a:rPr lang="en-ZA" altLang="en-US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6627" name="Rectangle 2"/>
          <p:cNvSpPr txBox="1">
            <a:spLocks noChangeArrowheads="1"/>
          </p:cNvSpPr>
          <p:nvPr/>
        </p:nvSpPr>
        <p:spPr bwMode="auto">
          <a:xfrm>
            <a:off x="250825" y="-71438"/>
            <a:ext cx="6624638" cy="99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400" b="1" dirty="0">
                <a:solidFill>
                  <a:srgbClr val="FFFFFF"/>
                </a:solidFill>
              </a:rPr>
              <a:t>DIRECT GRANTS SUMMARY (02)</a:t>
            </a:r>
          </a:p>
        </p:txBody>
      </p:sp>
      <p:sp>
        <p:nvSpPr>
          <p:cNvPr id="4" name="Content Placeholder 5"/>
          <p:cNvSpPr txBox="1">
            <a:spLocks/>
          </p:cNvSpPr>
          <p:nvPr/>
        </p:nvSpPr>
        <p:spPr>
          <a:xfrm>
            <a:off x="381000" y="1219200"/>
            <a:ext cx="8763000" cy="4800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overall reduction on direct grants for 2021/22 is 3,4% or R1,8 billion and this is growing over MTEF period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major reduction is under NTSG R1 billion and HIV component R1,6 bill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is will have serious service delivery implications as this will require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rationalisation of services,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Maintainance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of current services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it will be difficult to initiate new patients on ART programme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All the current initiatives to modernise the tertiary services and establishment of new services will have to be postponed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Cross-border referrals will continue which will have a direct effect on patients.</a:t>
            </a:r>
          </a:p>
          <a:p>
            <a:pPr lvl="1">
              <a:buFont typeface="Wingdings" panose="05000000000000000000" pitchFamily="2" charset="2"/>
              <a:buChar char="ü"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However, the department will continue to put measures in place to ensure current services are not tempered with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561761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ANK</a:t>
            </a:r>
            <a:r>
              <a:rPr lang="en-US" dirty="0"/>
              <a:t> </a:t>
            </a:r>
            <a:r>
              <a:rPr lang="en-US" dirty="0">
                <a:solidFill>
                  <a:schemeClr val="bg1"/>
                </a:solidFill>
              </a:rPr>
              <a:t>YOU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988840"/>
            <a:ext cx="8774044" cy="2880320"/>
          </a:xfrm>
        </p:spPr>
      </p:pic>
    </p:spTree>
    <p:extLst>
      <p:ext uri="{BB962C8B-B14F-4D97-AF65-F5344CB8AC3E}">
        <p14:creationId xmlns:p14="http://schemas.microsoft.com/office/powerpoint/2010/main" val="1165522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90AA-6229-4760-A43C-F427F2806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18964"/>
            <a:ext cx="6463630" cy="543595"/>
          </a:xfrm>
        </p:spPr>
        <p:txBody>
          <a:bodyPr/>
          <a:lstStyle/>
          <a:p>
            <a:r>
              <a:rPr lang="en-ZA" sz="2400" dirty="0"/>
              <a:t>Health sector’s response to MTSF 2019-2024 and Presidential Health Compact (</a:t>
            </a:r>
            <a:r>
              <a:rPr lang="en-ZA" sz="2400" dirty="0" err="1"/>
              <a:t>cont</a:t>
            </a:r>
            <a:r>
              <a:rPr lang="en-ZA" sz="2400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E94-FE04-4DE2-9A4D-87187B7B93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A311E4-DA1B-407E-8C96-EE478C0E8F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158193"/>
            <a:ext cx="8424936" cy="5686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8184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048" y="188640"/>
            <a:ext cx="6709232" cy="543595"/>
          </a:xfrm>
        </p:spPr>
        <p:txBody>
          <a:bodyPr/>
          <a:lstStyle/>
          <a:p>
            <a:pPr algn="ctr"/>
            <a:r>
              <a:rPr lang="en-ZA" sz="2400" dirty="0"/>
              <a:t>Additional diagnostics …</a:t>
            </a:r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9218"/>
          <a:stretch/>
        </p:blipFill>
        <p:spPr>
          <a:xfrm>
            <a:off x="2439078" y="1784535"/>
            <a:ext cx="2132921" cy="25193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016" y="1796234"/>
            <a:ext cx="2107353" cy="25085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449" y="1772817"/>
            <a:ext cx="2171739" cy="25193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4732223" y="1131610"/>
            <a:ext cx="16444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2000" b="1" dirty="0"/>
              <a:t>Private sector</a:t>
            </a:r>
          </a:p>
          <a:p>
            <a:pPr algn="ctr"/>
            <a:r>
              <a:rPr lang="en-ZA" sz="2000" b="1" i="1" dirty="0"/>
              <a:t>(mostly)</a:t>
            </a:r>
            <a:endParaRPr lang="en-US" sz="2000" b="1" i="1" dirty="0"/>
          </a:p>
        </p:txBody>
      </p:sp>
      <p:sp>
        <p:nvSpPr>
          <p:cNvPr id="9" name="TextBox 8"/>
          <p:cNvSpPr txBox="1"/>
          <p:nvPr/>
        </p:nvSpPr>
        <p:spPr>
          <a:xfrm>
            <a:off x="1275789" y="1226549"/>
            <a:ext cx="2441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/>
              <a:t>Public sector </a:t>
            </a:r>
            <a:r>
              <a:rPr lang="en-ZA" b="1" i="1" dirty="0"/>
              <a:t>(mostly)</a:t>
            </a:r>
            <a:endParaRPr lang="en-US" sz="2000" b="1" i="1" dirty="0"/>
          </a:p>
        </p:txBody>
      </p:sp>
      <p:sp>
        <p:nvSpPr>
          <p:cNvPr id="11" name="TextBox 10"/>
          <p:cNvSpPr txBox="1"/>
          <p:nvPr/>
        </p:nvSpPr>
        <p:spPr>
          <a:xfrm>
            <a:off x="117449" y="4433044"/>
            <a:ext cx="217173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High Level Findings and Recs: </a:t>
            </a:r>
            <a:r>
              <a:rPr lang="en-ZA" sz="1400" dirty="0">
                <a:solidFill>
                  <a:srgbClr val="FF0000"/>
                </a:solidFill>
              </a:rPr>
              <a:t>Dec 2018</a:t>
            </a:r>
          </a:p>
          <a:p>
            <a:endParaRPr lang="en-ZA" sz="1400" b="1" dirty="0"/>
          </a:p>
          <a:p>
            <a:r>
              <a:rPr lang="en-ZA" sz="1400" b="1" dirty="0"/>
              <a:t>Detailed Report: </a:t>
            </a:r>
            <a:r>
              <a:rPr lang="en-ZA" sz="1400" dirty="0">
                <a:solidFill>
                  <a:srgbClr val="FF0000"/>
                </a:solidFill>
              </a:rPr>
              <a:t>May, 2019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39078" y="4449257"/>
            <a:ext cx="256496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Summit: </a:t>
            </a:r>
            <a:r>
              <a:rPr lang="en-ZA" sz="1400" dirty="0">
                <a:solidFill>
                  <a:srgbClr val="FF0000"/>
                </a:solidFill>
              </a:rPr>
              <a:t>Oct 2018</a:t>
            </a:r>
          </a:p>
          <a:p>
            <a:endParaRPr lang="en-ZA" sz="1400" b="1" dirty="0"/>
          </a:p>
          <a:p>
            <a:r>
              <a:rPr lang="en-ZA" sz="1400" b="1" dirty="0"/>
              <a:t>Summit Report: </a:t>
            </a:r>
            <a:r>
              <a:rPr lang="en-ZA" sz="1400" dirty="0">
                <a:solidFill>
                  <a:srgbClr val="FF0000"/>
                </a:solidFill>
              </a:rPr>
              <a:t>Feb, 2019</a:t>
            </a:r>
          </a:p>
          <a:p>
            <a:endParaRPr lang="en-ZA" sz="1400" b="1" dirty="0"/>
          </a:p>
          <a:p>
            <a:r>
              <a:rPr lang="en-ZA" sz="1400" b="1" dirty="0"/>
              <a:t>Compact</a:t>
            </a:r>
            <a:r>
              <a:rPr lang="en-ZA" sz="1400" dirty="0"/>
              <a:t>: </a:t>
            </a:r>
            <a:r>
              <a:rPr lang="en-ZA" sz="1400" dirty="0">
                <a:solidFill>
                  <a:srgbClr val="FF0000"/>
                </a:solidFill>
              </a:rPr>
              <a:t>July, 2019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32223" y="4433044"/>
            <a:ext cx="230269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Started in </a:t>
            </a:r>
            <a:r>
              <a:rPr lang="en-ZA" sz="1400" dirty="0">
                <a:solidFill>
                  <a:srgbClr val="FF0000"/>
                </a:solidFill>
              </a:rPr>
              <a:t>2014</a:t>
            </a:r>
          </a:p>
          <a:p>
            <a:endParaRPr lang="en-ZA" sz="1400" b="1" dirty="0"/>
          </a:p>
          <a:p>
            <a:r>
              <a:rPr lang="en-ZA" sz="1400" b="1" dirty="0"/>
              <a:t>Prelim findings: </a:t>
            </a:r>
            <a:r>
              <a:rPr lang="en-ZA" sz="1400" dirty="0">
                <a:solidFill>
                  <a:srgbClr val="FF0000"/>
                </a:solidFill>
              </a:rPr>
              <a:t>2018</a:t>
            </a:r>
          </a:p>
          <a:p>
            <a:endParaRPr lang="en-ZA" sz="1400" b="1" dirty="0"/>
          </a:p>
          <a:p>
            <a:r>
              <a:rPr lang="en-ZA" sz="1400" b="1" dirty="0"/>
              <a:t>Final Report: </a:t>
            </a:r>
            <a:r>
              <a:rPr lang="en-ZA" sz="1400" dirty="0">
                <a:solidFill>
                  <a:srgbClr val="FF0000"/>
                </a:solidFill>
              </a:rPr>
              <a:t>Sep, 2019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9373" y="1874462"/>
            <a:ext cx="1895476" cy="24717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7002158" y="4460346"/>
            <a:ext cx="23026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Key Findings </a:t>
            </a:r>
            <a:r>
              <a:rPr lang="en-ZA" sz="1400" dirty="0">
                <a:solidFill>
                  <a:srgbClr val="FF0000"/>
                </a:solidFill>
              </a:rPr>
              <a:t>2017</a:t>
            </a:r>
          </a:p>
          <a:p>
            <a:endParaRPr lang="en-ZA" sz="1400" b="1" dirty="0"/>
          </a:p>
          <a:p>
            <a:r>
              <a:rPr lang="en-ZA" sz="1400" b="1" dirty="0"/>
              <a:t>Final Report: </a:t>
            </a:r>
            <a:r>
              <a:rPr lang="en-ZA" sz="1400" dirty="0">
                <a:solidFill>
                  <a:srgbClr val="FF0000"/>
                </a:solidFill>
              </a:rPr>
              <a:t>Jan 2019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145710" y="1084811"/>
            <a:ext cx="19447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ZA" sz="2000" b="1" dirty="0"/>
              <a:t>Health Status of </a:t>
            </a:r>
          </a:p>
          <a:p>
            <a:pPr algn="ctr"/>
            <a:r>
              <a:rPr lang="en-ZA" sz="2000" b="1" dirty="0"/>
              <a:t>South Africans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2725829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53F8DE6-D30F-431F-9424-4AFA24DCA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8" y="2348880"/>
            <a:ext cx="3732088" cy="2007294"/>
          </a:xfrm>
        </p:spPr>
        <p:txBody>
          <a:bodyPr/>
          <a:lstStyle/>
          <a:p>
            <a:pPr algn="ctr"/>
            <a:r>
              <a:rPr lang="en-ZA" dirty="0"/>
              <a:t>National DoH Strategic Plan 2020/21-2024/2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A5D354-DD10-440C-A39E-FBC5110B35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040" y="1073944"/>
            <a:ext cx="3367580" cy="471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415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60648"/>
            <a:ext cx="6463630" cy="543595"/>
          </a:xfrm>
        </p:spPr>
        <p:txBody>
          <a:bodyPr/>
          <a:lstStyle/>
          <a:p>
            <a:r>
              <a:rPr lang="en-US" dirty="0"/>
              <a:t>Strategic Plan 2020/21-2024/25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9BFBF8-9AE5-468D-B733-52A1F972F7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124744"/>
            <a:ext cx="5688632" cy="49829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E5DB6F3-550F-405F-92C8-C90208EE58A0}"/>
              </a:ext>
            </a:extLst>
          </p:cNvPr>
          <p:cNvSpPr txBox="1"/>
          <p:nvPr/>
        </p:nvSpPr>
        <p:spPr>
          <a:xfrm>
            <a:off x="5868144" y="1123011"/>
            <a:ext cx="2880320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u="sng" dirty="0"/>
              <a:t>2 Impact statements </a:t>
            </a:r>
            <a:r>
              <a:rPr lang="en-ZA" sz="1600" dirty="0"/>
              <a:t>of the National DoH plans </a:t>
            </a:r>
            <a:r>
              <a:rPr lang="en-ZA" sz="1600" b="1" dirty="0"/>
              <a:t>derived from the MTSF 2019-2024</a:t>
            </a:r>
          </a:p>
          <a:p>
            <a:endParaRPr lang="en-ZA" sz="1600" dirty="0"/>
          </a:p>
          <a:p>
            <a:r>
              <a:rPr lang="en-ZA" sz="1600" b="1" u="sng" dirty="0"/>
              <a:t>18 Outcomes </a:t>
            </a:r>
            <a:r>
              <a:rPr lang="en-ZA" sz="1600" b="1" dirty="0"/>
              <a:t>mapped against 2 Impact statements </a:t>
            </a:r>
          </a:p>
          <a:p>
            <a:pPr marL="285750" indent="-285750">
              <a:buFontTx/>
              <a:buChar char="-"/>
            </a:pPr>
            <a:r>
              <a:rPr lang="en-ZA" sz="1600" b="1" dirty="0"/>
              <a:t>5 outcomes </a:t>
            </a:r>
            <a:r>
              <a:rPr lang="en-ZA" sz="1600" dirty="0"/>
              <a:t>for </a:t>
            </a:r>
            <a:r>
              <a:rPr lang="en-ZA" sz="1600" u="sng" dirty="0"/>
              <a:t>quadruple Burden of Disease</a:t>
            </a:r>
          </a:p>
          <a:p>
            <a:pPr marL="285750" indent="-285750">
              <a:buFontTx/>
              <a:buChar char="-"/>
            </a:pPr>
            <a:r>
              <a:rPr lang="en-ZA" sz="1600" b="1" dirty="0"/>
              <a:t>13 Outcomes </a:t>
            </a:r>
            <a:r>
              <a:rPr lang="en-ZA" sz="1600" dirty="0"/>
              <a:t>for </a:t>
            </a:r>
            <a:r>
              <a:rPr lang="en-ZA" sz="1600" u="sng" dirty="0"/>
              <a:t>health system strengthening </a:t>
            </a:r>
            <a:r>
              <a:rPr lang="en-ZA" sz="1600" dirty="0"/>
              <a:t>and NHI</a:t>
            </a:r>
          </a:p>
          <a:p>
            <a:pPr marL="285750" indent="-285750">
              <a:buFontTx/>
              <a:buChar char="-"/>
            </a:pPr>
            <a:r>
              <a:rPr lang="en-ZA" sz="1600" dirty="0"/>
              <a:t>Added an </a:t>
            </a:r>
            <a:r>
              <a:rPr lang="en-ZA" sz="1600" b="1" dirty="0"/>
              <a:t>extra outcome for Covid-19</a:t>
            </a:r>
            <a:r>
              <a:rPr lang="en-ZA" sz="1600" dirty="0"/>
              <a:t> – </a:t>
            </a:r>
            <a:r>
              <a:rPr lang="en-ZA" sz="1200" i="1" dirty="0"/>
              <a:t>“</a:t>
            </a:r>
            <a:r>
              <a:rPr lang="en-US" sz="1200" i="1" dirty="0"/>
              <a:t>Morbidity and Mortality due to Covid-19 reduced”</a:t>
            </a:r>
            <a:endParaRPr lang="en-ZA" sz="1600" i="1" dirty="0"/>
          </a:p>
          <a:p>
            <a:endParaRPr lang="en-ZA" sz="1200" i="1" dirty="0"/>
          </a:p>
          <a:p>
            <a:r>
              <a:rPr lang="en-ZA" sz="1200" i="1" dirty="0"/>
              <a:t>(Note: National DoH will review its Strategic Plan when undertaking a mid-term review, and also incorporate the to be revised MTSF 2019-2024)</a:t>
            </a:r>
          </a:p>
        </p:txBody>
      </p:sp>
    </p:spTree>
    <p:extLst>
      <p:ext uri="{BB962C8B-B14F-4D97-AF65-F5344CB8AC3E}">
        <p14:creationId xmlns:p14="http://schemas.microsoft.com/office/powerpoint/2010/main" val="762750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08920"/>
            <a:ext cx="3300040" cy="1700609"/>
          </a:xfrm>
        </p:spPr>
        <p:txBody>
          <a:bodyPr/>
          <a:lstStyle/>
          <a:p>
            <a:pPr algn="ctr"/>
            <a:r>
              <a:rPr lang="en-US" dirty="0"/>
              <a:t>Annual Performance Plan 2021/2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016252-47E1-4EDB-8A13-30DBB864AC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7864" y="81616"/>
            <a:ext cx="4732508" cy="669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123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PROGRAMME 1 - ADMINISTRA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12144" y="1124744"/>
            <a:ext cx="7886700" cy="4351338"/>
          </a:xfrm>
        </p:spPr>
        <p:txBody>
          <a:bodyPr/>
          <a:lstStyle/>
          <a:p>
            <a:pPr algn="ctr">
              <a:buNone/>
            </a:pPr>
            <a:endParaRPr lang="en-ZA" sz="2400" dirty="0"/>
          </a:p>
          <a:p>
            <a:pPr algn="ctr">
              <a:buNone/>
            </a:pPr>
            <a:endParaRPr lang="en-ZA" sz="2400" dirty="0"/>
          </a:p>
          <a:p>
            <a:pPr algn="ctr">
              <a:buNone/>
            </a:pPr>
            <a:r>
              <a:rPr lang="en-ZA" sz="2400" dirty="0"/>
              <a:t>The purpose of the Administration Programme is to provide </a:t>
            </a:r>
            <a:r>
              <a:rPr lang="en-ZA" sz="2400" b="1" dirty="0">
                <a:solidFill>
                  <a:schemeClr val="accent3">
                    <a:lumMod val="50000"/>
                  </a:schemeClr>
                </a:solidFill>
              </a:rPr>
              <a:t>support services to the National Department of Health</a:t>
            </a:r>
            <a:r>
              <a:rPr lang="en-ZA" sz="2400" dirty="0"/>
              <a:t>. These include: Human Resources Development and Management, Labour Relations Services, Information Communication Technology Services, Property Management Services, Security Services, Legal Services, Supply Chain Management and Financial Management Services</a:t>
            </a:r>
          </a:p>
        </p:txBody>
      </p:sp>
    </p:spTree>
    <p:extLst>
      <p:ext uri="{BB962C8B-B14F-4D97-AF65-F5344CB8AC3E}">
        <p14:creationId xmlns:p14="http://schemas.microsoft.com/office/powerpoint/2010/main" val="24059579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14</Words>
  <Application>Microsoft Office PowerPoint</Application>
  <PresentationFormat>On-screen Show (4:3)</PresentationFormat>
  <Paragraphs>559</Paragraphs>
  <Slides>3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9</vt:i4>
      </vt:variant>
    </vt:vector>
  </HeadingPairs>
  <TitlesOfParts>
    <vt:vector size="57" baseType="lpstr">
      <vt:lpstr>Arial</vt:lpstr>
      <vt:lpstr>Arial Black</vt:lpstr>
      <vt:lpstr>Arial Narrow</vt:lpstr>
      <vt:lpstr>Calibri</vt:lpstr>
      <vt:lpstr>Century Gothic</vt:lpstr>
      <vt:lpstr>Courier New</vt:lpstr>
      <vt:lpstr>Times New Roman</vt:lpstr>
      <vt:lpstr>Verdana</vt:lpstr>
      <vt:lpstr>Wingdings</vt:lpstr>
      <vt:lpstr>Office Theme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think-cell Slide</vt:lpstr>
      <vt:lpstr>Лист</vt:lpstr>
      <vt:lpstr>PowerPoint Presentation</vt:lpstr>
      <vt:lpstr>Outline</vt:lpstr>
      <vt:lpstr>Health sector’s response to MTSF 2019-2024 and Presidential Health Compact</vt:lpstr>
      <vt:lpstr>Health sector’s response to MTSF 2019-2024 and Presidential Health Compact (cont)</vt:lpstr>
      <vt:lpstr>Additional diagnostics …</vt:lpstr>
      <vt:lpstr>National DoH Strategic Plan 2020/21-2024/25</vt:lpstr>
      <vt:lpstr>Strategic Plan 2020/21-2024/25</vt:lpstr>
      <vt:lpstr>Annual Performance Plan 2021/22</vt:lpstr>
      <vt:lpstr>PROGRAMME 1 - ADMINISTRATION</vt:lpstr>
      <vt:lpstr>Programme 1: Administration</vt:lpstr>
      <vt:lpstr>Programme 1: Administration</vt:lpstr>
      <vt:lpstr>PROGRAMME 2 - NATIONAL HEALTH INSURANCE</vt:lpstr>
      <vt:lpstr>Programme 2: National Health Insurance</vt:lpstr>
      <vt:lpstr>Programme 2: National Health Insurance</vt:lpstr>
      <vt:lpstr>Programme 3 - Communicable and Non-Communicable Diseases</vt:lpstr>
      <vt:lpstr>Programme 3: Communicable and non-communicable diseases</vt:lpstr>
      <vt:lpstr>Programme 3: Communicable and non-communicable diseases</vt:lpstr>
      <vt:lpstr>Programme 3: Communicable and non-communicable diseases</vt:lpstr>
      <vt:lpstr>Programme 4: Primary Health Care</vt:lpstr>
      <vt:lpstr>Programme 4: Primary Health Care</vt:lpstr>
      <vt:lpstr>Programme 4: Primary Health Care</vt:lpstr>
      <vt:lpstr>Programme 4: Primary Health Care</vt:lpstr>
      <vt:lpstr>Programme 4: Primary Health Care</vt:lpstr>
      <vt:lpstr>PROGRAMME 5: HOSPITAL SYSTEMS</vt:lpstr>
      <vt:lpstr>Programme 5: Hospital Systems</vt:lpstr>
      <vt:lpstr>PROGRAMME 6 – HEALTH SYSTEM GOVERNANCE AND HUMAN RESOURCES</vt:lpstr>
      <vt:lpstr>Programme 6: Health System Governance and Human Resources</vt:lpstr>
      <vt:lpstr>Programme 6: Health System Governance and Human Resources</vt:lpstr>
      <vt:lpstr>Programme 6: Health System Governance and Human Resources</vt:lpstr>
      <vt:lpstr>PowerPoint Presentation</vt:lpstr>
      <vt:lpstr>31 </vt:lpstr>
      <vt:lpstr>32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38 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chmim</dc:creator>
  <cp:lastModifiedBy>Vuyokazi Majalamba</cp:lastModifiedBy>
  <cp:revision>964</cp:revision>
  <cp:lastPrinted>2019-12-04T07:05:46Z</cp:lastPrinted>
  <dcterms:created xsi:type="dcterms:W3CDTF">2013-10-17T06:13:57Z</dcterms:created>
  <dcterms:modified xsi:type="dcterms:W3CDTF">2021-05-06T14:54:37Z</dcterms:modified>
</cp:coreProperties>
</file>